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2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Masters/slideMaster2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14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11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ppt/tags/tag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55" r:id="rId2"/>
  </p:sldMasterIdLst>
  <p:notesMasterIdLst>
    <p:notesMasterId r:id="rId4"/>
  </p:notesMasterIdLst>
  <p:handoutMasterIdLst>
    <p:handoutMasterId r:id="rId5"/>
  </p:handoutMasterIdLst>
  <p:sldIdLst>
    <p:sldId id="552" r:id="rId3"/>
  </p:sldIdLst>
  <p:sldSz cx="10691813" cy="6011863"/>
  <p:notesSz cx="6858000" cy="9144000"/>
  <p:custDataLst>
    <p:tags r:id="rId6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7178EF7-9504-422E-B0D6-568C15DAE539}">
          <p14:sldIdLst>
            <p14:sldId id="552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368" userDrawn="1">
          <p15:clr>
            <a:srgbClr val="A4A3A4"/>
          </p15:clr>
        </p15:guide>
        <p15:guide id="3" orient="horz" pos="828" userDrawn="1">
          <p15:clr>
            <a:srgbClr val="A4A3A4"/>
          </p15:clr>
        </p15:guide>
        <p15:guide id="4" pos="283" userDrawn="1">
          <p15:clr>
            <a:srgbClr val="A4A3A4"/>
          </p15:clr>
        </p15:guide>
        <p15:guide id="5" pos="64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570" autoAdjust="0"/>
  </p:normalViewPr>
  <p:slideViewPr>
    <p:cSldViewPr snapToGrid="0">
      <p:cViewPr varScale="1">
        <p:scale>
          <a:sx n="126" d="100"/>
          <a:sy n="126" d="100"/>
        </p:scale>
        <p:origin x="624" y="156"/>
      </p:cViewPr>
      <p:guideLst>
        <p:guide orient="horz" pos="3368"/>
        <p:guide orient="horz" pos="828"/>
        <p:guide pos="283"/>
        <p:guide pos="645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3234" y="44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customXml" Target="../customXml/item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en-GB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3/01/2023</a:t>
            </a:fld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en-GB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en-GB" smtClean="0"/>
              <a:pPr/>
              <a:t>23/01/2023</a:t>
            </a:fld>
            <a:endParaRPr lang="en-GB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5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1314450"/>
            <a:ext cx="9793288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2079367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1010432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8617632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6F2B00-11F9-05A7-0019-CDAB04333A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12366664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644526-9241-8C2F-636B-80CF0817FA3C}"/>
              </a:ext>
            </a:extLst>
          </p:cNvPr>
          <p:cNvSpPr/>
          <p:nvPr userDrawn="1"/>
        </p:nvSpPr>
        <p:spPr>
          <a:xfrm>
            <a:off x="6804025" y="4248000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8C56CD-6614-0B7D-DAAA-2B22E7C094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Additional Information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543695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644526-9241-8C2F-636B-80CF0817FA3C}"/>
              </a:ext>
            </a:extLst>
          </p:cNvPr>
          <p:cNvSpPr/>
          <p:nvPr userDrawn="1"/>
        </p:nvSpPr>
        <p:spPr>
          <a:xfrm>
            <a:off x="6804025" y="4248000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7" imgW="399" imgH="398" progId="TCLayout.ActiveDocument.1">
                  <p:embed/>
                </p:oleObj>
              </mc:Choice>
              <mc:Fallback>
                <p:oleObj name="think-cell Slide" r:id="rId7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Additional Information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424483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F1A5EC-7FCB-D018-7DAD-F85669A3B6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1807921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7638922-8616-7758-2893-22863B2F33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1. Chapter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Chapter detai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4603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5CE0534-2ADB-D786-4BA6-7C4BF6A8C5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4163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D23BB2C-50B8-75FA-A6E1-0FF96F41F4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  <a:endParaRPr lang="en-GB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tř. Václava Klementa 869 Mladá Boleslav II</a:t>
            </a:r>
            <a:br>
              <a:rPr lang="en-GB" noProof="1"/>
            </a:br>
            <a:r>
              <a:rPr lang="en-GB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1342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262897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3681452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222222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7576450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1314450"/>
            <a:ext cx="9793288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339245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131594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7" imgW="399" imgH="398" progId="TCLayout.ActiveDocument.1">
                  <p:embed/>
                </p:oleObj>
              </mc:Choice>
              <mc:Fallback>
                <p:oleObj name="think-cell Slide" r:id="rId7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1466464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470830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19258569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mera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B9963D-4194-84A4-A5CA-461A720BD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1478924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lec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F0FA753-08B2-8DDC-C26C-07D66B058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062554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120851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1. Chapter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Chapter detai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66090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875240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  <a:endParaRPr lang="en-GB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 smtClean="0"/>
              <a:t>Kliknutím na ikonu přidáte obrázek.</a:t>
            </a:r>
            <a:endParaRPr lang="en-GB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 smtClean="0"/>
              <a:t>Kliknutím na ikonu přidáte obrázek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tř. Václava Klementa 869 Mladá Boleslav II</a:t>
            </a:r>
            <a:br>
              <a:rPr lang="en-GB" noProof="1"/>
            </a:br>
            <a:r>
              <a:rPr lang="en-GB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12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964541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8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3" imgW="399" imgH="398" progId="TCLayout.ActiveDocument.1">
                  <p:embed/>
                </p:oleObj>
              </mc:Choice>
              <mc:Fallback>
                <p:oleObj name="think-cell Slide" r:id="rId23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dirty="0"/>
              <a:t>SXX | Date | Presentation Title | Department | Name</a:t>
            </a:r>
            <a:endParaRPr lang="en-GB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Text (Page Message)</a:t>
            </a:r>
          </a:p>
        </p:txBody>
      </p:sp>
      <p:sp>
        <p:nvSpPr>
          <p:cNvPr id="4" name="MSIPCMContentMarking" descr="{&quot;HashCode&quot;:1622173095,&quot;Placement&quot;:&quot;Footer&quot;,&quot;Top&quot;:456.2375,&quot;Left&quot;:0.0,&quot;SlideWidth&quot;:841,&quot;SlideHeight&quot;:473}"/>
          <p:cNvSpPr txBox="1"/>
          <p:nvPr userDrawn="1"/>
        </p:nvSpPr>
        <p:spPr>
          <a:xfrm>
            <a:off x="0" y="5794216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 smtClean="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cs-CZ" sz="8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7" r:id="rId3"/>
    <p:sldLayoutId id="2147483740" r:id="rId4"/>
    <p:sldLayoutId id="2147483738" r:id="rId5"/>
    <p:sldLayoutId id="2147483739" r:id="rId6"/>
    <p:sldLayoutId id="214748373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52" r:id="rId15"/>
    <p:sldLayoutId id="2147483753" r:id="rId16"/>
    <p:sldLayoutId id="2147483754" r:id="rId17"/>
  </p:sldLayoutIdLst>
  <p:hf sldNum="0" hdr="0" ft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425C78C-10A7-3C67-0F4D-6452760EE78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23" imgW="399" imgH="398" progId="TCLayout.ActiveDocument.1">
                  <p:embed/>
                </p:oleObj>
              </mc:Choice>
              <mc:Fallback>
                <p:oleObj name="think-cell Slide" r:id="rId23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dirty="0"/>
              <a:t>SXX | Date | Presentation Title | Department | Name</a:t>
            </a:r>
            <a:endParaRPr lang="en-GB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Text (Page Message)</a:t>
            </a:r>
          </a:p>
        </p:txBody>
      </p:sp>
      <p:sp>
        <p:nvSpPr>
          <p:cNvPr id="8" name="MSIPCMContentMarking" descr="{&quot;HashCode&quot;:1622173095,&quot;Placement&quot;:&quot;Footer&quot;,&quot;Top&quot;:456.2375,&quot;Left&quot;:0.0,&quot;SlideWidth&quot;:841,&quot;SlideHeight&quot;:473}"/>
          <p:cNvSpPr txBox="1"/>
          <p:nvPr userDrawn="1"/>
        </p:nvSpPr>
        <p:spPr>
          <a:xfrm>
            <a:off x="0" y="5794216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 smtClean="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cs-CZ" sz="8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</p:sldLayoutIdLst>
  <p:hf sldNum="0" hdr="0" ft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F8A70-6800-B23D-FBB0-ABF3F3C4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002" y="246138"/>
            <a:ext cx="5387657" cy="772400"/>
          </a:xfrm>
        </p:spPr>
        <p:txBody>
          <a:bodyPr/>
          <a:lstStyle/>
          <a:p>
            <a:pPr algn="ctr"/>
            <a:r>
              <a:rPr lang="cs-CZ" sz="2500" b="1" dirty="0" smtClean="0">
                <a:latin typeface="+mj-lt"/>
              </a:rPr>
              <a:t>Projekt ŠKODA Stromky</a:t>
            </a:r>
            <a:endParaRPr lang="en-GB" sz="2500" b="1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5BE18-B070-523B-5A58-99FF95C0C5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8488" y="1126489"/>
            <a:ext cx="4927071" cy="2984501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Ochrana životního prostředí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Redukce CO2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Zadržování vody v krajině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Zalesňování a vytváření alejí</a:t>
            </a:r>
          </a:p>
          <a:p>
            <a:pPr>
              <a:lnSpc>
                <a:spcPct val="150000"/>
              </a:lnSpc>
            </a:pPr>
            <a:r>
              <a:rPr lang="cs-CZ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KODA Next" panose="020B0504020603020204" pitchFamily="34" charset="0"/>
              </a:rPr>
              <a:t>To vše jako symbol firemní orientace na společensko</a:t>
            </a:r>
            <a:r>
              <a:rPr lang="cs-CZ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KODA Next" panose="020B0504020603020204" pitchFamily="34" charset="0"/>
              </a:rPr>
              <a:t>-</a:t>
            </a:r>
            <a:r>
              <a:rPr lang="cs-CZ" sz="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KODA Next" panose="020B0504020603020204" pitchFamily="34" charset="0"/>
              </a:rPr>
              <a:t>ekologické hodnot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Historie projektu sahá až do roku 2007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Do konce roku 2022 bylo v tomto programu vysazeno přes </a:t>
            </a:r>
            <a:r>
              <a:rPr lang="cs-CZ" sz="900" b="1" dirty="0" smtClean="0">
                <a:latin typeface="SKODA Next" panose="020B0504020603020204" pitchFamily="34" charset="0"/>
              </a:rPr>
              <a:t>1 173 000 </a:t>
            </a:r>
            <a:r>
              <a:rPr lang="cs-CZ" sz="900" dirty="0" smtClean="0">
                <a:latin typeface="SKODA Next" panose="020B0504020603020204" pitchFamily="34" charset="0"/>
              </a:rPr>
              <a:t>stromů ve více než 200 lokalitách po celé České republic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 Aleje v obcích ale i lesnické výsadb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Zapojení zaměstnanců v rámci dobrovolnictví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Spolupráce s odborník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Podpora stromů, keřů, </a:t>
            </a:r>
            <a:r>
              <a:rPr lang="cs-CZ" sz="900" dirty="0" err="1" smtClean="0">
                <a:latin typeface="SKODA Next" panose="020B0504020603020204" pitchFamily="34" charset="0"/>
              </a:rPr>
              <a:t>biodiverzitních</a:t>
            </a:r>
            <a:r>
              <a:rPr lang="cs-CZ" sz="900" dirty="0" smtClean="0">
                <a:latin typeface="SKODA Next" panose="020B0504020603020204" pitchFamily="34" charset="0"/>
              </a:rPr>
              <a:t> prvků, odborného posudku nebo dozoru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900" dirty="0" smtClean="0">
                <a:latin typeface="SKODA Next" panose="020B0504020603020204" pitchFamily="34" charset="0"/>
              </a:rPr>
              <a:t>Udržitelnost </a:t>
            </a:r>
            <a:r>
              <a:rPr lang="cs-CZ" sz="900" dirty="0">
                <a:latin typeface="SKODA Next" panose="020B0504020603020204" pitchFamily="34" charset="0"/>
              </a:rPr>
              <a:t>a následná </a:t>
            </a:r>
            <a:r>
              <a:rPr lang="cs-CZ" sz="900" dirty="0" smtClean="0">
                <a:latin typeface="SKODA Next" panose="020B0504020603020204" pitchFamily="34" charset="0"/>
              </a:rPr>
              <a:t>péče</a:t>
            </a:r>
            <a:endParaRPr lang="en-GB" sz="900" dirty="0">
              <a:latin typeface="SKODA Next" panose="020B0504020603020204" pitchFamily="34" charset="0"/>
            </a:endParaRP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8" y="3947160"/>
            <a:ext cx="4478856" cy="155864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115355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 2022 Preliminary Sample Presentation.potx" id="{7D463A37-A946-44FE-86A6-C17BC9CDFC3F}" vid="{C6E7AC65-A130-46B2-9CF5-6A75045A0E3F}"/>
    </a:ext>
  </a:extLst>
</a:theme>
</file>

<file path=ppt/theme/theme2.xml><?xml version="1.0" encoding="utf-8"?>
<a:theme xmlns:a="http://schemas.openxmlformats.org/drawingml/2006/main" name="ŠKODA A4 Widescreen GREYSCALE">
  <a:themeElements>
    <a:clrScheme name="ŠKODA CI">
      <a:dk1>
        <a:sysClr val="windowText" lastClr="000000"/>
      </a:dk1>
      <a:lt1>
        <a:sysClr val="window" lastClr="FFFFFF"/>
      </a:lt1>
      <a:dk2>
        <a:srgbClr val="E5E5E5"/>
      </a:dk2>
      <a:lt2>
        <a:srgbClr val="747474"/>
      </a:lt2>
      <a:accent1>
        <a:srgbClr val="303030"/>
      </a:accent1>
      <a:accent2>
        <a:srgbClr val="D9D9D9"/>
      </a:accent2>
      <a:accent3>
        <a:srgbClr val="777777"/>
      </a:accent3>
      <a:accent4>
        <a:srgbClr val="CDCDCD"/>
      </a:accent4>
      <a:accent5>
        <a:srgbClr val="AEAEAE"/>
      </a:accent5>
      <a:accent6>
        <a:srgbClr val="B7B7B7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E5E5E5"/>
        </a:dk2>
        <a:lt2>
          <a:srgbClr val="747474"/>
        </a:lt2>
        <a:accent1>
          <a:srgbClr val="303030"/>
        </a:accent1>
        <a:accent2>
          <a:srgbClr val="D9D9D9"/>
        </a:accent2>
        <a:accent3>
          <a:srgbClr val="777777"/>
        </a:accent3>
        <a:accent4>
          <a:srgbClr val="CDCDCD"/>
        </a:accent4>
        <a:accent5>
          <a:srgbClr val="AEAEAE"/>
        </a:accent5>
        <a:accent6>
          <a:srgbClr val="B7B7B7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303030"/>
    </a:custClr>
    <a:custClr name="Electric Green">
      <a:srgbClr val="D9D9D9"/>
    </a:custClr>
    <a:custClr name="Red">
      <a:srgbClr val="747474"/>
    </a:custClr>
    <a:custClr name="Blue">
      <a:srgbClr val="535353"/>
    </a:custClr>
    <a:custClr name="Teal">
      <a:srgbClr val="AEAEAE"/>
    </a:custClr>
    <a:custClr name="Yellow">
      <a:srgbClr val="E5E5E5"/>
    </a:custClr>
    <a:custClr name="Orange">
      <a:srgbClr val="B7B7B7"/>
    </a:custClr>
  </a:custClrLst>
  <a:extLst>
    <a:ext uri="{05A4C25C-085E-4340-85A3-A5531E510DB2}">
      <thm15:themeFamily xmlns:thm15="http://schemas.microsoft.com/office/thememl/2012/main" name="SKODA 2022 Preliminary Sample Presentation.potx" id="{7D463A37-A946-44FE-86A6-C17BC9CDFC3F}" vid="{83A449C5-28AB-4362-96F3-91590DED3EE1}"/>
    </a:ext>
  </a:extLst>
</a:theme>
</file>

<file path=ppt/theme/theme3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ppt/theme/theme4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8B07776149F6489B49DE5723BA65AF" ma:contentTypeVersion="13" ma:contentTypeDescription="Vytvoří nový dokument" ma:contentTypeScope="" ma:versionID="c1075bb6206ae31f462b4ef2667a0167">
  <xsd:schema xmlns:xsd="http://www.w3.org/2001/XMLSchema" xmlns:xs="http://www.w3.org/2001/XMLSchema" xmlns:p="http://schemas.microsoft.com/office/2006/metadata/properties" xmlns:ns2="ca75af4f-63cf-4b10-b368-fa399a260f8c" xmlns:ns3="a1f449ad-801c-4c8e-a49d-6750f174d4ad" targetNamespace="http://schemas.microsoft.com/office/2006/metadata/properties" ma:root="true" ma:fieldsID="1afb2e06de0bda1893d441fb7ae02cf4" ns2:_="" ns3:_="">
    <xsd:import namespace="ca75af4f-63cf-4b10-b368-fa399a260f8c"/>
    <xsd:import namespace="a1f449ad-801c-4c8e-a49d-6750f174d4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75af4f-63cf-4b10-b368-fa399a260f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Značky obrázků" ma:readOnly="false" ma:fieldId="{5cf76f15-5ced-4ddc-b409-7134ff3c332f}" ma:taxonomyMulti="true" ma:sspId="28fccb43-589e-4dd3-be02-dde011ed90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f449ad-801c-4c8e-a49d-6750f174d4a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a7a864d-77e4-4aab-9d7a-71019211645d}" ma:internalName="TaxCatchAll" ma:showField="CatchAllData" ma:web="a1f449ad-801c-4c8e-a49d-6750f174d4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75af4f-63cf-4b10-b368-fa399a260f8c">
      <Terms xmlns="http://schemas.microsoft.com/office/infopath/2007/PartnerControls"/>
    </lcf76f155ced4ddcb4097134ff3c332f>
    <TaxCatchAll xmlns="a1f449ad-801c-4c8e-a49d-6750f174d4ad" xsi:nil="true"/>
  </documentManagement>
</p:properties>
</file>

<file path=customXml/itemProps1.xml><?xml version="1.0" encoding="utf-8"?>
<ds:datastoreItem xmlns:ds="http://schemas.openxmlformats.org/officeDocument/2006/customXml" ds:itemID="{79DA58DA-DFFE-4370-857B-613F606C4C5D}"/>
</file>

<file path=customXml/itemProps2.xml><?xml version="1.0" encoding="utf-8"?>
<ds:datastoreItem xmlns:ds="http://schemas.openxmlformats.org/officeDocument/2006/customXml" ds:itemID="{CB6D71C8-AE3B-4443-8D98-7219FBF1162C}"/>
</file>

<file path=customXml/itemProps3.xml><?xml version="1.0" encoding="utf-8"?>
<ds:datastoreItem xmlns:ds="http://schemas.openxmlformats.org/officeDocument/2006/customXml" ds:itemID="{D6C33191-8682-4E52-AF3B-1048E1788CD8}"/>
</file>

<file path=docProps/app.xml><?xml version="1.0" encoding="utf-8"?>
<Properties xmlns="http://schemas.openxmlformats.org/officeDocument/2006/extended-properties" xmlns:vt="http://schemas.openxmlformats.org/officeDocument/2006/docPropsVTypes">
  <Template>New CI - Preliminary Sample version</Template>
  <TotalTime>0</TotalTime>
  <Words>87</Words>
  <Application>Microsoft Office PowerPoint</Application>
  <PresentationFormat>Vlastní</PresentationFormat>
  <Paragraphs>13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8" baseType="lpstr">
      <vt:lpstr>Arial</vt:lpstr>
      <vt:lpstr>SKODA Next</vt:lpstr>
      <vt:lpstr>SKODA Next Light</vt:lpstr>
      <vt:lpstr>Verdana</vt:lpstr>
      <vt:lpstr>ŠKODA A4 Widescreen CI</vt:lpstr>
      <vt:lpstr>ŠKODA A4 Widescreen GREYSCALE</vt:lpstr>
      <vt:lpstr>think-cell Slide</vt:lpstr>
      <vt:lpstr>Projekt ŠKODA Stromky</vt:lpstr>
    </vt:vector>
  </TitlesOfParts>
  <Manager/>
  <Company>Š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iterova, Monika (SR)</dc:creator>
  <cp:lastModifiedBy>Siterova, Monika (SR)</cp:lastModifiedBy>
  <cp:revision>5</cp:revision>
  <dcterms:created xsi:type="dcterms:W3CDTF">2023-01-22T16:45:07Z</dcterms:created>
  <dcterms:modified xsi:type="dcterms:W3CDTF">2023-01-23T08:5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3-01-23T08:56:18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e50b8e5a-1741-4758-83ce-c976ba4b34cc</vt:lpwstr>
  </property>
  <property fmtid="{D5CDD505-2E9C-101B-9397-08002B2CF9AE}" pid="8" name="MSIP_Label_b1c9b508-7c6e-42bd-bedf-808292653d6c_ContentBits">
    <vt:lpwstr>3</vt:lpwstr>
  </property>
  <property fmtid="{D5CDD505-2E9C-101B-9397-08002B2CF9AE}" pid="9" name="ContentTypeId">
    <vt:lpwstr>0x010100068B07776149F6489B49DE5723BA65AF</vt:lpwstr>
  </property>
</Properties>
</file>